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258" r:id="rId5"/>
    <p:sldId id="326" r:id="rId6"/>
    <p:sldId id="327" r:id="rId7"/>
    <p:sldId id="328" r:id="rId8"/>
    <p:sldId id="330" r:id="rId9"/>
    <p:sldId id="329" r:id="rId10"/>
    <p:sldId id="321" r:id="rId11"/>
    <p:sldId id="331" r:id="rId12"/>
    <p:sldId id="301" r:id="rId13"/>
    <p:sldId id="278" r:id="rId14"/>
    <p:sldId id="325" r:id="rId15"/>
    <p:sldId id="332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3714" autoAdjust="0"/>
  </p:normalViewPr>
  <p:slideViewPr>
    <p:cSldViewPr>
      <p:cViewPr varScale="1">
        <p:scale>
          <a:sx n="102" d="100"/>
          <a:sy n="102" d="100"/>
        </p:scale>
        <p:origin x="264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Final%20Test%20Cases.xlsx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Defect_Reports/Revised_Registration_Defect_Report.xlsx" TargetMode="External"/><Relationship Id="rId7" Type="http://schemas.openxmlformats.org/officeDocument/2006/relationships/hyperlink" Target="Defect_Reports/Pricing_DefectReport.xls" TargetMode="External"/><Relationship Id="rId2" Type="http://schemas.openxmlformats.org/officeDocument/2006/relationships/hyperlink" Target="Defect_Reports/Login%20DefectReport.xls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Defect_Reports/Building_App%20Defect%20Report.xlsx" TargetMode="External"/><Relationship Id="rId5" Type="http://schemas.openxmlformats.org/officeDocument/2006/relationships/hyperlink" Target="Defect_Reports/ChatBox_Magento_Defect_Report.xlsx" TargetMode="External"/><Relationship Id="rId4" Type="http://schemas.openxmlformats.org/officeDocument/2006/relationships/hyperlink" Target="Defect_Reports/Add_Features_DefectReport.xlsx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4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err="1" smtClean="0">
                <a:solidFill>
                  <a:schemeClr val="bg1"/>
                </a:solidFill>
                <a:latin typeface="Candara" pitchFamily="34" charset="0"/>
              </a:rPr>
              <a:t>Magento</a:t>
            </a:r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 Mobile Application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USE CASE :-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1" y="1238700"/>
            <a:ext cx="6439192" cy="50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28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This is the link to go through the 4 types of Test Cases of </a:t>
            </a:r>
            <a:r>
              <a:rPr lang="en-US" dirty="0" err="1" smtClean="0">
                <a:solidFill>
                  <a:srgbClr val="002060"/>
                </a:solidFill>
              </a:rPr>
              <a:t>Magento</a:t>
            </a:r>
            <a:r>
              <a:rPr lang="en-US" dirty="0" smtClean="0">
                <a:solidFill>
                  <a:srgbClr val="002060"/>
                </a:solidFill>
              </a:rPr>
              <a:t> Mobile Websit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Use Case Based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Cause and Effect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State transition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Inter System Test Cas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rgbClr val="002060"/>
                </a:solidFill>
              </a:rPr>
              <a:t>Security Test Case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457200" lvl="1" indent="0">
              <a:buNone/>
            </a:pPr>
            <a:r>
              <a:rPr lang="en-US" sz="2400" dirty="0" smtClean="0">
                <a:hlinkClick r:id="rId3" action="ppaction://hlinkfile"/>
              </a:rPr>
              <a:t>Link to Test Cases</a:t>
            </a:r>
            <a:endParaRPr lang="en-US" sz="24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Baskerville Old Face" pitchFamily="18" charset="0"/>
              </a:rPr>
              <a:t>TEST CASES</a:t>
            </a:r>
          </a:p>
        </p:txBody>
      </p:sp>
      <p:sp>
        <p:nvSpPr>
          <p:cNvPr id="7" name="Striped Right Arrow 6"/>
          <p:cNvSpPr/>
          <p:nvPr/>
        </p:nvSpPr>
        <p:spPr>
          <a:xfrm>
            <a:off x="685800" y="4114800"/>
            <a:ext cx="228600" cy="1524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/>
              <a:t>Defects Found…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By testing the </a:t>
            </a:r>
            <a:r>
              <a:rPr lang="en-US" dirty="0" err="1" smtClean="0">
                <a:solidFill>
                  <a:srgbClr val="002060"/>
                </a:solidFill>
              </a:rPr>
              <a:t>Magento</a:t>
            </a:r>
            <a:r>
              <a:rPr lang="en-US" dirty="0" smtClean="0">
                <a:solidFill>
                  <a:srgbClr val="002060"/>
                </a:solidFill>
              </a:rPr>
              <a:t> Mobile shop website we have found some defects and try to make the website as quality application.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Here are the defect reports :--</a:t>
            </a: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2" action="ppaction://hlinkfile"/>
              </a:rPr>
              <a:t>Log In Page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3" action="ppaction://hlinkfile"/>
              </a:rPr>
              <a:t>Registration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4" action="ppaction://hlinkfile"/>
              </a:rPr>
              <a:t>Add Features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5" action="ppaction://hlinkfile"/>
              </a:rPr>
              <a:t>Chat Box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6" action="ppaction://hlinkfile"/>
              </a:rPr>
              <a:t>Building new Website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hlinkClick r:id="rId7" action="ppaction://hlinkfile"/>
              </a:rPr>
              <a:t>Pricing Defect Report</a:t>
            </a:r>
            <a:endParaRPr lang="en-US" dirty="0" smtClean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831" y="1524000"/>
            <a:ext cx="6934385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Summary :-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fter testing the </a:t>
            </a:r>
            <a:r>
              <a:rPr lang="en-US" dirty="0" err="1" smtClean="0">
                <a:solidFill>
                  <a:schemeClr val="tx1"/>
                </a:solidFill>
              </a:rPr>
              <a:t>Magento</a:t>
            </a:r>
            <a:r>
              <a:rPr lang="en-US" dirty="0" smtClean="0">
                <a:solidFill>
                  <a:schemeClr val="tx1"/>
                </a:solidFill>
              </a:rPr>
              <a:t> Mobile Shop Website we have found total 55 test cases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mong them 39 test cases are failed and 16 test cases are passed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nd we are try to recover the failures and to make the website quality one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222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000" dirty="0" err="1" smtClean="0">
                <a:solidFill>
                  <a:schemeClr val="accent6"/>
                </a:solidFill>
              </a:rPr>
              <a:t>Pujarani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Parida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Sreya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Jaiswal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Shweta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Pawar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smtClean="0">
                <a:solidFill>
                  <a:schemeClr val="accent6"/>
                </a:solidFill>
              </a:rPr>
              <a:t>Saran </a:t>
            </a:r>
            <a:r>
              <a:rPr lang="en-US" sz="4000" dirty="0" err="1">
                <a:solidFill>
                  <a:schemeClr val="accent6"/>
                </a:solidFill>
              </a:rPr>
              <a:t>Madhu</a:t>
            </a:r>
            <a:endParaRPr lang="en-US" sz="4000" dirty="0">
              <a:solidFill>
                <a:schemeClr val="accent6"/>
              </a:solidFill>
            </a:endParaRPr>
          </a:p>
          <a:p>
            <a:r>
              <a:rPr lang="en-US" sz="4000" dirty="0" err="1" smtClean="0">
                <a:solidFill>
                  <a:schemeClr val="accent6"/>
                </a:solidFill>
              </a:rPr>
              <a:t>Ragini</a:t>
            </a:r>
            <a:r>
              <a:rPr lang="en-US" sz="4000" dirty="0" smtClean="0">
                <a:solidFill>
                  <a:schemeClr val="accent6"/>
                </a:solidFill>
              </a:rPr>
              <a:t> </a:t>
            </a:r>
            <a:r>
              <a:rPr lang="en-US" sz="4000" dirty="0" err="1">
                <a:solidFill>
                  <a:schemeClr val="accent6"/>
                </a:solidFill>
              </a:rPr>
              <a:t>Ahire</a:t>
            </a:r>
            <a:r>
              <a:rPr lang="en-US" sz="4000" dirty="0">
                <a:solidFill>
                  <a:schemeClr val="accent6"/>
                </a:solidFill>
              </a:rPr>
              <a:t>.</a:t>
            </a:r>
          </a:p>
          <a:p>
            <a:pPr marL="0" indent="0">
              <a:buNone/>
            </a:pPr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	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dirty="0">
                <a:solidFill>
                  <a:srgbClr val="002060"/>
                </a:solidFill>
              </a:rPr>
              <a:t>	</a:t>
            </a: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400" dirty="0" smtClean="0">
                <a:solidFill>
                  <a:srgbClr val="002060"/>
                </a:solidFill>
              </a:rPr>
              <a:t>In </a:t>
            </a:r>
            <a:r>
              <a:rPr lang="en-US" sz="1400" dirty="0" err="1">
                <a:solidFill>
                  <a:srgbClr val="002060"/>
                </a:solidFill>
              </a:rPr>
              <a:t>Magento</a:t>
            </a:r>
            <a:r>
              <a:rPr lang="en-US" sz="1400" dirty="0">
                <a:solidFill>
                  <a:srgbClr val="002060"/>
                </a:solidFill>
              </a:rPr>
              <a:t> Mobile Application is used for building websites. User buys the domain and then builds his website. User can also add features to his website. </a:t>
            </a:r>
          </a:p>
          <a:p>
            <a:pPr marL="0" indent="0">
              <a:buNone/>
            </a:pPr>
            <a:r>
              <a:rPr lang="en-US" sz="1400" dirty="0">
                <a:solidFill>
                  <a:srgbClr val="002060"/>
                </a:solidFill>
              </a:rPr>
              <a:t>	User also have different types of subscription . User also can try this application for free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8" name="Picture 7"/>
          <p:cNvPicPr/>
          <p:nvPr/>
        </p:nvPicPr>
        <p:blipFill>
          <a:blip r:embed="rId2"/>
          <a:srcRect t="16272" r="76013" b="71894"/>
          <a:stretch>
            <a:fillRect/>
          </a:stretch>
        </p:blipFill>
        <p:spPr bwMode="auto">
          <a:xfrm>
            <a:off x="457200" y="1373123"/>
            <a:ext cx="2209800" cy="2208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/>
          <p:nvPr/>
        </p:nvPicPr>
        <p:blipFill>
          <a:blip r:embed="rId3"/>
          <a:srcRect t="15976" r="4949" b="4734"/>
          <a:stretch>
            <a:fillRect/>
          </a:stretch>
        </p:blipFill>
        <p:spPr bwMode="auto">
          <a:xfrm>
            <a:off x="2857500" y="1620306"/>
            <a:ext cx="5448300" cy="3408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/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This </a:t>
            </a:r>
            <a:r>
              <a:rPr lang="en-US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application includes some modules:</a:t>
            </a:r>
            <a:br>
              <a:rPr lang="en-US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1.Registration Page</a:t>
            </a:r>
            <a:r>
              <a:rPr lang="en-US" sz="2000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1.On registration page user have to register first.</a:t>
            </a:r>
          </a:p>
          <a:p>
            <a:pPr marL="0" indent="0">
              <a:buNone/>
            </a:pPr>
            <a:r>
              <a:rPr lang="en-US" dirty="0">
                <a:solidFill>
                  <a:srgbClr val="002060"/>
                </a:solidFill>
              </a:rPr>
              <a:t>2.User have to create user name and password for logging into application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0" t="24522" r="33066" b="37960"/>
          <a:stretch/>
        </p:blipFill>
        <p:spPr bwMode="auto">
          <a:xfrm>
            <a:off x="1371600" y="2209800"/>
            <a:ext cx="660153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84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.LOGIN</a:t>
            </a:r>
            <a:r>
              <a:rPr lang="en-US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  On </a:t>
            </a:r>
            <a:r>
              <a:rPr lang="en-US" dirty="0">
                <a:solidFill>
                  <a:srgbClr val="002060"/>
                </a:solidFill>
              </a:rPr>
              <a:t>LOGIN page ,user has to enter valid credentials</a:t>
            </a:r>
            <a:r>
              <a:rPr lang="en-US" dirty="0" smtClean="0">
                <a:solidFill>
                  <a:srgbClr val="002060"/>
                </a:solidFill>
              </a:rPr>
              <a:t>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2. </a:t>
            </a:r>
            <a:r>
              <a:rPr lang="en-IN" dirty="0">
                <a:solidFill>
                  <a:srgbClr val="002060"/>
                </a:solidFill>
              </a:rPr>
              <a:t>There is link provided in the login module “Lost your password?” which redirects  the user to the page where user can recover their password using email-id.</a:t>
            </a: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20" r="4334" b="7650"/>
          <a:stretch/>
        </p:blipFill>
        <p:spPr bwMode="auto">
          <a:xfrm>
            <a:off x="1143000" y="1219200"/>
            <a:ext cx="4665453" cy="327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5555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. Pricing</a:t>
            </a:r>
            <a:r>
              <a:rPr lang="en-US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: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500" dirty="0" smtClean="0">
                <a:solidFill>
                  <a:srgbClr val="002060"/>
                </a:solidFill>
              </a:rPr>
              <a:t>1.In </a:t>
            </a:r>
            <a:r>
              <a:rPr lang="en-US" sz="1500" dirty="0">
                <a:solidFill>
                  <a:srgbClr val="002060"/>
                </a:solidFill>
              </a:rPr>
              <a:t>this menu user can try this application free for 14 days.</a:t>
            </a:r>
          </a:p>
          <a:p>
            <a:pPr marL="0" indent="0">
              <a:buNone/>
            </a:pPr>
            <a:r>
              <a:rPr lang="en-US" sz="1500" dirty="0">
                <a:solidFill>
                  <a:srgbClr val="002060"/>
                </a:solidFill>
              </a:rPr>
              <a:t>2.There are also two other plans first is Basic plan, where application is only providing the facilities of Android App, COD, Bank Transfer, With Advertisements, by $ </a:t>
            </a:r>
            <a:r>
              <a:rPr lang="en-US" sz="1500" dirty="0" smtClean="0">
                <a:solidFill>
                  <a:srgbClr val="002060"/>
                </a:solidFill>
              </a:rPr>
              <a:t>99 </a:t>
            </a:r>
            <a:r>
              <a:rPr lang="en-US" sz="1500" dirty="0">
                <a:solidFill>
                  <a:srgbClr val="002060"/>
                </a:solidFill>
              </a:rPr>
              <a:t>and 3.The another plan is Platinum plan where user can subscribe by $999, which is providing so many facilities than Basic plan.</a:t>
            </a:r>
          </a:p>
          <a:p>
            <a:pPr marL="0" indent="0">
              <a:buNone/>
            </a:pPr>
            <a:r>
              <a:rPr lang="en-US" sz="1500" dirty="0">
                <a:solidFill>
                  <a:srgbClr val="002060"/>
                </a:solidFill>
              </a:rPr>
              <a:t>4.After choosing any one of the plan application will ask user for register to proceed further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94" t="14359" r="19031" b="3435"/>
          <a:stretch/>
        </p:blipFill>
        <p:spPr bwMode="auto">
          <a:xfrm>
            <a:off x="816634" y="1043615"/>
            <a:ext cx="7205932" cy="335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80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4. ADD-ONS: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1.In this menu different-different features are available to Add in websites which is being build by user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2. User can select any feature and add it to the cart.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3.After  adding in cart further payment process will ne done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1" t="14239" r="19659" b="36139"/>
          <a:stretch/>
        </p:blipFill>
        <p:spPr bwMode="auto">
          <a:xfrm>
            <a:off x="609600" y="1371600"/>
            <a:ext cx="6400800" cy="289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657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5. Chat Box:</a:t>
            </a:r>
            <a:endParaRPr lang="en-US" u="sng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/>
          <a:srcRect l="40548" t="45676" b="5543"/>
          <a:stretch>
            <a:fillRect/>
          </a:stretch>
        </p:blipFill>
        <p:spPr bwMode="auto">
          <a:xfrm>
            <a:off x="1371600" y="990600"/>
            <a:ext cx="55626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685800" y="4724400"/>
            <a:ext cx="7848600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e is a tab provided to chat i.e. “Let’s talk about your app!” which provides the functionality to talk about your </a:t>
            </a:r>
            <a:r>
              <a:rPr lang="en-IN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ication or any issue with the admins of the </a:t>
            </a:r>
            <a:r>
              <a:rPr lang="en-IN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gento</a:t>
            </a:r>
            <a:r>
              <a:rPr lang="en-IN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bile Application. 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07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u="sng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1874053"/>
            <a:ext cx="1695687" cy="25530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721632"/>
            <a:ext cx="1819529" cy="28578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2072551"/>
            <a:ext cx="1343212" cy="235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8</TotalTime>
  <Words>462</Words>
  <Application>Microsoft Office PowerPoint</Application>
  <PresentationFormat>On-screen Show (4:3)</PresentationFormat>
  <Paragraphs>125</Paragraphs>
  <Slides>1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Symbol</vt:lpstr>
      <vt:lpstr>Times New Roman</vt:lpstr>
      <vt:lpstr>Wingdings</vt:lpstr>
      <vt:lpstr>Executive</vt:lpstr>
      <vt:lpstr>Office Theme</vt:lpstr>
      <vt:lpstr>PowerPoint Presentation</vt:lpstr>
      <vt:lpstr>TEAM MEMBERS</vt:lpstr>
      <vt:lpstr>OVERVIEW OF THE PROJECT</vt:lpstr>
      <vt:lpstr> This application includes some modules: </vt:lpstr>
      <vt:lpstr> 2.LOGIN: </vt:lpstr>
      <vt:lpstr> 3. Pricing: </vt:lpstr>
      <vt:lpstr>4. ADD-ONS:</vt:lpstr>
      <vt:lpstr>5. Chat Box:</vt:lpstr>
      <vt:lpstr>Actors</vt:lpstr>
      <vt:lpstr>USE CASE :-</vt:lpstr>
      <vt:lpstr>PowerPoint Presentation</vt:lpstr>
      <vt:lpstr>Defects Found…</vt:lpstr>
      <vt:lpstr>Tracebelity Matrix</vt:lpstr>
      <vt:lpstr>Project Summary :-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Parida, Pujarani</cp:lastModifiedBy>
  <cp:revision>140</cp:revision>
  <dcterms:created xsi:type="dcterms:W3CDTF">2015-08-27T08:52:20Z</dcterms:created>
  <dcterms:modified xsi:type="dcterms:W3CDTF">2018-11-27T09:09:18Z</dcterms:modified>
</cp:coreProperties>
</file>